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66" r:id="rId2"/>
    <p:sldId id="367" r:id="rId3"/>
    <p:sldId id="369"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97EAC7-ADF8-438B-8276-916B41F2878C}" v="32" dt="2022-01-28T09:45:14.120"/>
    <p1510:client id="{FA9C31AB-2B1B-41B9-AA40-68F5F18BD2EE}" v="1" dt="2022-01-28T11:56:11.648"/>
  </p1510:revLst>
</p1510:revInfo>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77" d="100"/>
          <a:sy n="77" d="100"/>
        </p:scale>
        <p:origin x="912" y="72"/>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wevedi, Vachaspati" userId="2dac63ae-5ebb-4e69-9374-1db311135852" providerId="ADAL" clId="{8697EAC7-ADF8-438B-8276-916B41F2878C}"/>
    <pc:docChg chg="undo custSel modSld">
      <pc:chgData name="Diwevedi, Vachaspati" userId="2dac63ae-5ebb-4e69-9374-1db311135852" providerId="ADAL" clId="{8697EAC7-ADF8-438B-8276-916B41F2878C}" dt="2022-01-28T10:29:54.251" v="656" actId="20577"/>
      <pc:docMkLst>
        <pc:docMk/>
      </pc:docMkLst>
      <pc:sldChg chg="modSp mod">
        <pc:chgData name="Diwevedi, Vachaspati" userId="2dac63ae-5ebb-4e69-9374-1db311135852" providerId="ADAL" clId="{8697EAC7-ADF8-438B-8276-916B41F2878C}" dt="2022-01-28T10:29:54.251" v="656" actId="20577"/>
        <pc:sldMkLst>
          <pc:docMk/>
          <pc:sldMk cId="684571084" sldId="366"/>
        </pc:sldMkLst>
        <pc:spChg chg="mod">
          <ac:chgData name="Diwevedi, Vachaspati" userId="2dac63ae-5ebb-4e69-9374-1db311135852" providerId="ADAL" clId="{8697EAC7-ADF8-438B-8276-916B41F2878C}" dt="2022-01-28T09:30:09.949" v="7" actId="20577"/>
          <ac:spMkLst>
            <pc:docMk/>
            <pc:sldMk cId="684571084" sldId="366"/>
            <ac:spMk id="16" creationId="{6D6DA9F7-DB64-4567-BE8E-E069C1B10127}"/>
          </ac:spMkLst>
        </pc:spChg>
        <pc:spChg chg="mod">
          <ac:chgData name="Diwevedi, Vachaspati" userId="2dac63ae-5ebb-4e69-9374-1db311135852" providerId="ADAL" clId="{8697EAC7-ADF8-438B-8276-916B41F2878C}" dt="2022-01-28T09:31:58.793" v="128" actId="20577"/>
          <ac:spMkLst>
            <pc:docMk/>
            <pc:sldMk cId="684571084" sldId="366"/>
            <ac:spMk id="17" creationId="{86EFEFE6-40D8-4F98-A8DC-DB4A69331A78}"/>
          </ac:spMkLst>
        </pc:spChg>
        <pc:spChg chg="mod">
          <ac:chgData name="Diwevedi, Vachaspati" userId="2dac63ae-5ebb-4e69-9374-1db311135852" providerId="ADAL" clId="{8697EAC7-ADF8-438B-8276-916B41F2878C}" dt="2022-01-28T10:29:54.251" v="656" actId="20577"/>
          <ac:spMkLst>
            <pc:docMk/>
            <pc:sldMk cId="684571084" sldId="366"/>
            <ac:spMk id="18" creationId="{1A8455E1-E124-45CE-B4DD-AE99CCF9A248}"/>
          </ac:spMkLst>
        </pc:spChg>
      </pc:sldChg>
      <pc:sldChg chg="modSp mod">
        <pc:chgData name="Diwevedi, Vachaspati" userId="2dac63ae-5ebb-4e69-9374-1db311135852" providerId="ADAL" clId="{8697EAC7-ADF8-438B-8276-916B41F2878C}" dt="2022-01-28T09:45:06.398" v="645" actId="6549"/>
        <pc:sldMkLst>
          <pc:docMk/>
          <pc:sldMk cId="1022597847" sldId="367"/>
        </pc:sldMkLst>
        <pc:spChg chg="mod">
          <ac:chgData name="Diwevedi, Vachaspati" userId="2dac63ae-5ebb-4e69-9374-1db311135852" providerId="ADAL" clId="{8697EAC7-ADF8-438B-8276-916B41F2878C}" dt="2022-01-28T09:32:15.382" v="137" actId="20577"/>
          <ac:spMkLst>
            <pc:docMk/>
            <pc:sldMk cId="1022597847" sldId="367"/>
            <ac:spMk id="2" creationId="{6F28F343-BA60-4E08-9E39-5B5A8795CDA4}"/>
          </ac:spMkLst>
        </pc:spChg>
        <pc:spChg chg="mod">
          <ac:chgData name="Diwevedi, Vachaspati" userId="2dac63ae-5ebb-4e69-9374-1db311135852" providerId="ADAL" clId="{8697EAC7-ADF8-438B-8276-916B41F2878C}" dt="2022-01-28T09:32:23.433" v="157" actId="20577"/>
          <ac:spMkLst>
            <pc:docMk/>
            <pc:sldMk cId="1022597847" sldId="367"/>
            <ac:spMk id="5" creationId="{3A241BE6-0BF2-4E13-B760-9657E2456D22}"/>
          </ac:spMkLst>
        </pc:spChg>
        <pc:spChg chg="mod">
          <ac:chgData name="Diwevedi, Vachaspati" userId="2dac63ae-5ebb-4e69-9374-1db311135852" providerId="ADAL" clId="{8697EAC7-ADF8-438B-8276-916B41F2878C}" dt="2022-01-28T09:45:06.398" v="645" actId="6549"/>
          <ac:spMkLst>
            <pc:docMk/>
            <pc:sldMk cId="1022597847" sldId="367"/>
            <ac:spMk id="6" creationId="{525CBB0E-B869-4882-8948-65DD257EDC97}"/>
          </ac:spMkLst>
        </pc:spChg>
      </pc:sldChg>
      <pc:sldChg chg="addSp delSp modSp mod">
        <pc:chgData name="Diwevedi, Vachaspati" userId="2dac63ae-5ebb-4e69-9374-1db311135852" providerId="ADAL" clId="{8697EAC7-ADF8-438B-8276-916B41F2878C}" dt="2022-01-28T09:44:10.315" v="639" actId="2710"/>
        <pc:sldMkLst>
          <pc:docMk/>
          <pc:sldMk cId="1336772705" sldId="369"/>
        </pc:sldMkLst>
        <pc:spChg chg="mod">
          <ac:chgData name="Diwevedi, Vachaspati" userId="2dac63ae-5ebb-4e69-9374-1db311135852" providerId="ADAL" clId="{8697EAC7-ADF8-438B-8276-916B41F2878C}" dt="2022-01-28T09:39:47.812" v="540" actId="20577"/>
          <ac:spMkLst>
            <pc:docMk/>
            <pc:sldMk cId="1336772705" sldId="369"/>
            <ac:spMk id="5" creationId="{52816D73-16BF-4DE5-9470-389365833768}"/>
          </ac:spMkLst>
        </pc:spChg>
        <pc:spChg chg="del">
          <ac:chgData name="Diwevedi, Vachaspati" userId="2dac63ae-5ebb-4e69-9374-1db311135852" providerId="ADAL" clId="{8697EAC7-ADF8-438B-8276-916B41F2878C}" dt="2022-01-28T09:37:38.824" v="486"/>
          <ac:spMkLst>
            <pc:docMk/>
            <pc:sldMk cId="1336772705" sldId="369"/>
            <ac:spMk id="6" creationId="{8300A30E-56D3-4B3A-8CDB-4EC8BF085B07}"/>
          </ac:spMkLst>
        </pc:spChg>
        <pc:spChg chg="add mod">
          <ac:chgData name="Diwevedi, Vachaspati" userId="2dac63ae-5ebb-4e69-9374-1db311135852" providerId="ADAL" clId="{8697EAC7-ADF8-438B-8276-916B41F2878C}" dt="2022-01-28T09:42:25.633" v="598" actId="1076"/>
          <ac:spMkLst>
            <pc:docMk/>
            <pc:sldMk cId="1336772705" sldId="369"/>
            <ac:spMk id="14" creationId="{716FAEB0-EF62-4393-912E-7D49704310B7}"/>
          </ac:spMkLst>
        </pc:spChg>
        <pc:spChg chg="add mod">
          <ac:chgData name="Diwevedi, Vachaspati" userId="2dac63ae-5ebb-4e69-9374-1db311135852" providerId="ADAL" clId="{8697EAC7-ADF8-438B-8276-916B41F2878C}" dt="2022-01-28T09:42:22.472" v="597" actId="1076"/>
          <ac:spMkLst>
            <pc:docMk/>
            <pc:sldMk cId="1336772705" sldId="369"/>
            <ac:spMk id="19" creationId="{4BB2A6FB-CF04-4757-9085-8F74015E24E1}"/>
          </ac:spMkLst>
        </pc:spChg>
        <pc:spChg chg="add mod">
          <ac:chgData name="Diwevedi, Vachaspati" userId="2dac63ae-5ebb-4e69-9374-1db311135852" providerId="ADAL" clId="{8697EAC7-ADF8-438B-8276-916B41F2878C}" dt="2022-01-28T09:43:48.472" v="635" actId="20577"/>
          <ac:spMkLst>
            <pc:docMk/>
            <pc:sldMk cId="1336772705" sldId="369"/>
            <ac:spMk id="26" creationId="{3A8B115F-3389-4B46-8B08-F4C8720D05B3}"/>
          </ac:spMkLst>
        </pc:spChg>
        <pc:spChg chg="add mod">
          <ac:chgData name="Diwevedi, Vachaspati" userId="2dac63ae-5ebb-4e69-9374-1db311135852" providerId="ADAL" clId="{8697EAC7-ADF8-438B-8276-916B41F2878C}" dt="2022-01-28T09:44:10.315" v="639" actId="2710"/>
          <ac:spMkLst>
            <pc:docMk/>
            <pc:sldMk cId="1336772705" sldId="369"/>
            <ac:spMk id="27" creationId="{808AFC68-F311-420D-BDDC-6CC7133273F5}"/>
          </ac:spMkLst>
        </pc:spChg>
        <pc:picChg chg="add mod">
          <ac:chgData name="Diwevedi, Vachaspati" userId="2dac63ae-5ebb-4e69-9374-1db311135852" providerId="ADAL" clId="{8697EAC7-ADF8-438B-8276-916B41F2878C}" dt="2022-01-28T09:41:07.872" v="553" actId="1076"/>
          <ac:picMkLst>
            <pc:docMk/>
            <pc:sldMk cId="1336772705" sldId="369"/>
            <ac:picMk id="1026" creationId="{613E76EA-5E29-4AAA-A8F0-7BD68DA5752D}"/>
          </ac:picMkLst>
        </pc:picChg>
        <pc:picChg chg="add mod">
          <ac:chgData name="Diwevedi, Vachaspati" userId="2dac63ae-5ebb-4e69-9374-1db311135852" providerId="ADAL" clId="{8697EAC7-ADF8-438B-8276-916B41F2878C}" dt="2022-01-28T09:39:17.150" v="498" actId="1076"/>
          <ac:picMkLst>
            <pc:docMk/>
            <pc:sldMk cId="1336772705" sldId="369"/>
            <ac:picMk id="1028" creationId="{32DC173C-616B-4C89-82E2-C9ADAB48402E}"/>
          </ac:picMkLst>
        </pc:picChg>
        <pc:picChg chg="add del">
          <ac:chgData name="Diwevedi, Vachaspati" userId="2dac63ae-5ebb-4e69-9374-1db311135852" providerId="ADAL" clId="{8697EAC7-ADF8-438B-8276-916B41F2878C}" dt="2022-01-28T09:40:14.093" v="542"/>
          <ac:picMkLst>
            <pc:docMk/>
            <pc:sldMk cId="1336772705" sldId="369"/>
            <ac:picMk id="1030" creationId="{324B6F9A-3543-4959-93A5-1B178AE443ED}"/>
          </ac:picMkLst>
        </pc:picChg>
        <pc:picChg chg="add mod">
          <ac:chgData name="Diwevedi, Vachaspati" userId="2dac63ae-5ebb-4e69-9374-1db311135852" providerId="ADAL" clId="{8697EAC7-ADF8-438B-8276-916B41F2878C}" dt="2022-01-28T09:41:21.820" v="556" actId="1076"/>
          <ac:picMkLst>
            <pc:docMk/>
            <pc:sldMk cId="1336772705" sldId="369"/>
            <ac:picMk id="1032" creationId="{CC80EF76-3A21-4B17-8B6B-021E0DF50478}"/>
          </ac:picMkLst>
        </pc:picChg>
        <pc:cxnChg chg="add del mod">
          <ac:chgData name="Diwevedi, Vachaspati" userId="2dac63ae-5ebb-4e69-9374-1db311135852" providerId="ADAL" clId="{8697EAC7-ADF8-438B-8276-916B41F2878C}" dt="2022-01-28T09:42:43.258" v="599" actId="478"/>
          <ac:cxnSpMkLst>
            <pc:docMk/>
            <pc:sldMk cId="1336772705" sldId="369"/>
            <ac:cxnSpMk id="8" creationId="{1BD00496-74B6-47CE-9EDC-9F26FA8D6765}"/>
          </ac:cxnSpMkLst>
        </pc:cxnChg>
        <pc:cxnChg chg="add del mod">
          <ac:chgData name="Diwevedi, Vachaspati" userId="2dac63ae-5ebb-4e69-9374-1db311135852" providerId="ADAL" clId="{8697EAC7-ADF8-438B-8276-916B41F2878C}" dt="2022-01-28T09:43:06.169" v="602" actId="478"/>
          <ac:cxnSpMkLst>
            <pc:docMk/>
            <pc:sldMk cId="1336772705" sldId="369"/>
            <ac:cxnSpMk id="13" creationId="{EC46D43E-03E0-420E-8156-51EC22979EBB}"/>
          </ac:cxnSpMkLst>
        </pc:cxnChg>
        <pc:cxnChg chg="add mod">
          <ac:chgData name="Diwevedi, Vachaspati" userId="2dac63ae-5ebb-4e69-9374-1db311135852" providerId="ADAL" clId="{8697EAC7-ADF8-438B-8276-916B41F2878C}" dt="2022-01-28T09:42:55.806" v="601" actId="14100"/>
          <ac:cxnSpMkLst>
            <pc:docMk/>
            <pc:sldMk cId="1336772705" sldId="369"/>
            <ac:cxnSpMk id="16" creationId="{7DB6E04E-85E7-4837-8B93-4DD8913F4C04}"/>
          </ac:cxnSpMkLst>
        </pc:cxnChg>
        <pc:cxnChg chg="add mod">
          <ac:chgData name="Diwevedi, Vachaspati" userId="2dac63ae-5ebb-4e69-9374-1db311135852" providerId="ADAL" clId="{8697EAC7-ADF8-438B-8276-916B41F2878C}" dt="2022-01-28T09:43:19.242" v="606" actId="14100"/>
          <ac:cxnSpMkLst>
            <pc:docMk/>
            <pc:sldMk cId="1336772705" sldId="369"/>
            <ac:cxnSpMk id="23" creationId="{484FE449-FA91-4E61-8B37-8C772B341C28}"/>
          </ac:cxnSpMkLst>
        </pc:cxnChg>
      </pc:sldChg>
    </pc:docChg>
  </pc:docChgLst>
  <pc:docChgLst>
    <pc:chgData name="Diwevedi, Vachaspati" userId="2dac63ae-5ebb-4e69-9374-1db311135852" providerId="ADAL" clId="{FA9C31AB-2B1B-41B9-AA40-68F5F18BD2EE}"/>
    <pc:docChg chg="modSld">
      <pc:chgData name="Diwevedi, Vachaspati" userId="2dac63ae-5ebb-4e69-9374-1db311135852" providerId="ADAL" clId="{FA9C31AB-2B1B-41B9-AA40-68F5F18BD2EE}" dt="2022-01-28T11:56:13.875" v="22" actId="6549"/>
      <pc:docMkLst>
        <pc:docMk/>
      </pc:docMkLst>
      <pc:sldChg chg="modSp mod">
        <pc:chgData name="Diwevedi, Vachaspati" userId="2dac63ae-5ebb-4e69-9374-1db311135852" providerId="ADAL" clId="{FA9C31AB-2B1B-41B9-AA40-68F5F18BD2EE}" dt="2022-01-28T11:56:13.875" v="22" actId="6549"/>
        <pc:sldMkLst>
          <pc:docMk/>
          <pc:sldMk cId="1022597847" sldId="367"/>
        </pc:sldMkLst>
        <pc:spChg chg="mod">
          <ac:chgData name="Diwevedi, Vachaspati" userId="2dac63ae-5ebb-4e69-9374-1db311135852" providerId="ADAL" clId="{FA9C31AB-2B1B-41B9-AA40-68F5F18BD2EE}" dt="2022-01-28T11:56:13.875" v="22" actId="6549"/>
          <ac:spMkLst>
            <pc:docMk/>
            <pc:sldMk cId="1022597847" sldId="367"/>
            <ac:spMk id="6" creationId="{525CBB0E-B869-4882-8948-65DD257EDC9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1/2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1/28/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1/28/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1/28/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1/28/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1/28/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1/28/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eb.microsoftstream.com/video/8fb01499-204d-4c71-994a-3aa51cc3e2a2"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a:t>Kickbox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200" y="3866211"/>
            <a:ext cx="5637963" cy="388989"/>
          </a:xfrm>
        </p:spPr>
        <p:txBody>
          <a:bodyPr/>
          <a:lstStyle/>
          <a:p>
            <a:r>
              <a:rPr lang="en-US" dirty="0"/>
              <a:t>Webmethods Cloud Stream Provider</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Vachaspati Diwevedi</a:t>
            </a:r>
          </a:p>
          <a:p>
            <a:r>
              <a:rPr lang="en-US" dirty="0"/>
              <a:t>Vivek Kumar</a:t>
            </a:r>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Kickbox</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r>
              <a:rPr lang="en-US" dirty="0"/>
              <a:t>Cloudstream provider</a:t>
            </a:r>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Kickbox</a:t>
            </a:r>
          </a:p>
          <a:p>
            <a:r>
              <a:rPr lang="en-US" dirty="0"/>
              <a:t>Kickbox is a white hat service provider, whose team has been building email technology for more than a decade -- from anti-spam to email encryption. This knowledge and experience comprise the foundation on which Kickbox is built and has helped us become the leader in the email verification industry.</a:t>
            </a:r>
          </a:p>
          <a:p>
            <a:r>
              <a:rPr lang="en-US" dirty="0"/>
              <a:t>Kickbox provides technology that promotes email best practices and improves deliverability. Our mission: ensure customers with opt-in contacts get their message to the inbox and to prevent all the rest from hitting Send.</a:t>
            </a:r>
          </a:p>
          <a:p>
            <a:r>
              <a:rPr lang="en-US" dirty="0"/>
              <a:t>Asset video link: </a:t>
            </a:r>
            <a:r>
              <a:rPr lang="en-US" dirty="0">
                <a:hlinkClick r:id="rId3"/>
              </a:rPr>
              <a:t>https://web.microsoftstream.com/video/8fb01499-204d-4c71-994a-3aa51cc3e2a2</a:t>
            </a:r>
            <a:endParaRPr lang="en-US" dirty="0"/>
          </a:p>
          <a:p>
            <a:endParaRPr lang="en-US" dirty="0"/>
          </a:p>
          <a:p>
            <a:r>
              <a:rPr lang="en-US" dirty="0"/>
              <a:t>Explain about the connector and its capabilities and how it will benefit the users.</a:t>
            </a:r>
          </a:p>
          <a:p>
            <a:pPr marL="285750" indent="-285750">
              <a:buFont typeface="Arial" panose="020B0604020202020204" pitchFamily="34" charset="0"/>
              <a:buChar char="•"/>
            </a:pPr>
            <a:r>
              <a:rPr lang="en-US" dirty="0"/>
              <a:t>This Connector helps enterprises to connect their App through wmio to Kickbox App</a:t>
            </a:r>
          </a:p>
          <a:p>
            <a:pPr marL="285750" indent="-285750">
              <a:buFont typeface="Arial" panose="020B0604020202020204" pitchFamily="34" charset="0"/>
              <a:buChar char="•"/>
            </a:pPr>
            <a:r>
              <a:rPr lang="en-US" dirty="0"/>
              <a:t>Validate &amp; verify any email or bunch of emails so the user’s marketing and promotional email would not go to spam or to unused users email Id and it adds to their revenue directly</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mio kickbox cloud connector</a:t>
            </a:r>
            <a:endParaRPr lang="en-IN" dirty="0"/>
          </a:p>
        </p:txBody>
      </p:sp>
      <p:pic>
        <p:nvPicPr>
          <p:cNvPr id="1026" name="Picture 2" descr="Kickbox Email Verification Service">
            <a:extLst>
              <a:ext uri="{FF2B5EF4-FFF2-40B4-BE49-F238E27FC236}">
                <a16:creationId xmlns:a16="http://schemas.microsoft.com/office/drawing/2014/main" id="{613E76EA-5E29-4AAA-A8F0-7BD68DA5752D}"/>
              </a:ext>
            </a:extLst>
          </p:cNvPr>
          <p:cNvPicPr>
            <a:picLocks noGrp="1" noChangeAspect="1" noChangeArrowheads="1"/>
          </p:cNvPicPr>
          <p:nvPr>
            <p:ph sz="quarter" idx="21"/>
          </p:nvPr>
        </p:nvPicPr>
        <p:blipFill>
          <a:blip r:embed="rId2">
            <a:extLst>
              <a:ext uri="{28A0092B-C50C-407E-A947-70E740481C1C}">
                <a14:useLocalDpi xmlns:a14="http://schemas.microsoft.com/office/drawing/2010/main" val="0"/>
              </a:ext>
            </a:extLst>
          </a:blip>
          <a:srcRect/>
          <a:stretch>
            <a:fillRect/>
          </a:stretch>
        </p:blipFill>
        <p:spPr bwMode="auto">
          <a:xfrm>
            <a:off x="8904312" y="3226628"/>
            <a:ext cx="2012619" cy="7057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ebMethods.io - SurveyMonkey App Integration">
            <a:extLst>
              <a:ext uri="{FF2B5EF4-FFF2-40B4-BE49-F238E27FC236}">
                <a16:creationId xmlns:a16="http://schemas.microsoft.com/office/drawing/2014/main" id="{32DC173C-616B-4C89-82E2-C9ADAB4840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3952" y="2996952"/>
            <a:ext cx="1584176" cy="11651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ser (computing) - Wikipedia">
            <a:extLst>
              <a:ext uri="{FF2B5EF4-FFF2-40B4-BE49-F238E27FC236}">
                <a16:creationId xmlns:a16="http://schemas.microsoft.com/office/drawing/2014/main" id="{CC80EF76-3A21-4B17-8B6B-021E0DF504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512" y="2845620"/>
            <a:ext cx="1440160" cy="146778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6FAEB0-EF62-4393-912E-7D49704310B7}"/>
              </a:ext>
            </a:extLst>
          </p:cNvPr>
          <p:cNvSpPr txBox="1"/>
          <p:nvPr/>
        </p:nvSpPr>
        <p:spPr>
          <a:xfrm>
            <a:off x="3422651" y="3259563"/>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 list of email</a:t>
            </a:r>
            <a:endParaRPr lang="en-IN" sz="1200" dirty="0"/>
          </a:p>
        </p:txBody>
      </p:sp>
      <p:sp>
        <p:nvSpPr>
          <p:cNvPr id="19" name="TextBox 18">
            <a:extLst>
              <a:ext uri="{FF2B5EF4-FFF2-40B4-BE49-F238E27FC236}">
                <a16:creationId xmlns:a16="http://schemas.microsoft.com/office/drawing/2014/main" id="{4BB2A6FB-CF04-4757-9085-8F74015E24E1}"/>
              </a:ext>
            </a:extLst>
          </p:cNvPr>
          <p:cNvSpPr txBox="1"/>
          <p:nvPr/>
        </p:nvSpPr>
        <p:spPr>
          <a:xfrm>
            <a:off x="7392144" y="3278488"/>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 list of email</a:t>
            </a:r>
            <a:endParaRPr lang="en-IN" sz="1200" dirty="0"/>
          </a:p>
        </p:txBody>
      </p:sp>
      <p:cxnSp>
        <p:nvCxnSpPr>
          <p:cNvPr id="16" name="Straight Arrow Connector 15">
            <a:extLst>
              <a:ext uri="{FF2B5EF4-FFF2-40B4-BE49-F238E27FC236}">
                <a16:creationId xmlns:a16="http://schemas.microsoft.com/office/drawing/2014/main" id="{7DB6E04E-85E7-4837-8B93-4DD8913F4C04}"/>
              </a:ext>
            </a:extLst>
          </p:cNvPr>
          <p:cNvCxnSpPr>
            <a:cxnSpLocks/>
            <a:endCxn id="1028" idx="1"/>
          </p:cNvCxnSpPr>
          <p:nvPr/>
        </p:nvCxnSpPr>
        <p:spPr>
          <a:xfrm flipV="1">
            <a:off x="2927648" y="3579512"/>
            <a:ext cx="2736304" cy="1416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84FE449-FA91-4E61-8B37-8C772B341C28}"/>
              </a:ext>
            </a:extLst>
          </p:cNvPr>
          <p:cNvCxnSpPr>
            <a:cxnSpLocks/>
            <a:stCxn id="1028" idx="3"/>
            <a:endCxn id="1026" idx="1"/>
          </p:cNvCxnSpPr>
          <p:nvPr/>
        </p:nvCxnSpPr>
        <p:spPr>
          <a:xfrm>
            <a:off x="7248128" y="3579512"/>
            <a:ext cx="1656184"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A8B115F-3389-4B46-8B08-F4C8720D05B3}"/>
              </a:ext>
            </a:extLst>
          </p:cNvPr>
          <p:cNvSpPr txBox="1"/>
          <p:nvPr/>
        </p:nvSpPr>
        <p:spPr>
          <a:xfrm>
            <a:off x="3422651" y="3746567"/>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Validation Response</a:t>
            </a:r>
            <a:endParaRPr lang="en-IN" sz="1200" dirty="0"/>
          </a:p>
        </p:txBody>
      </p:sp>
      <p:sp>
        <p:nvSpPr>
          <p:cNvPr id="27" name="TextBox 26">
            <a:extLst>
              <a:ext uri="{FF2B5EF4-FFF2-40B4-BE49-F238E27FC236}">
                <a16:creationId xmlns:a16="http://schemas.microsoft.com/office/drawing/2014/main" id="{808AFC68-F311-420D-BDDC-6CC7133273F5}"/>
              </a:ext>
            </a:extLst>
          </p:cNvPr>
          <p:cNvSpPr txBox="1"/>
          <p:nvPr/>
        </p:nvSpPr>
        <p:spPr>
          <a:xfrm>
            <a:off x="7374767" y="3650146"/>
            <a:ext cx="1728192" cy="334110"/>
          </a:xfrm>
          <a:prstGeom prst="rect">
            <a:avLst/>
          </a:prstGeom>
          <a:ln w="28575">
            <a:noFill/>
          </a:ln>
        </p:spPr>
        <p:txBody>
          <a:bodyPr vert="horz" wrap="none" lIns="0" tIns="0" rIns="0" bIns="0" rtlCol="0">
            <a:noAutofit/>
          </a:bodyPr>
          <a:lstStyle/>
          <a:p>
            <a:pPr algn="l" defTabSz="972000">
              <a:spcAft>
                <a:spcPts val="765"/>
              </a:spcAft>
            </a:pPr>
            <a:r>
              <a:rPr lang="en-US" sz="1200" dirty="0"/>
              <a:t>Email Validation </a:t>
            </a:r>
          </a:p>
          <a:p>
            <a:pPr algn="l" defTabSz="972000">
              <a:spcAft>
                <a:spcPts val="765"/>
              </a:spcAft>
            </a:pPr>
            <a:r>
              <a:rPr lang="en-US" sz="1200" dirty="0"/>
              <a:t>Response</a:t>
            </a:r>
            <a:endParaRPr lang="en-IN" sz="1200" dirty="0"/>
          </a:p>
        </p:txBody>
      </p:sp>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293</Words>
  <Application>Microsoft Office PowerPoint</Application>
  <PresentationFormat>Widescreen</PresentationFormat>
  <Paragraphs>33</Paragraphs>
  <Slides>4</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vt:i4>
      </vt:variant>
    </vt:vector>
  </HeadingPairs>
  <TitlesOfParts>
    <vt:vector size="10" baseType="lpstr">
      <vt:lpstr>Arial</vt:lpstr>
      <vt:lpstr>Wingdings</vt:lpstr>
      <vt:lpstr>Symbol</vt:lpstr>
      <vt:lpstr>Rubik</vt:lpstr>
      <vt:lpstr>Trebuchet MS</vt:lpstr>
      <vt:lpstr>Software AG 2021</vt:lpstr>
      <vt:lpstr>Kickbox Provider</vt:lpstr>
      <vt:lpstr>Kickbox</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Diwevedi, Vachaspati</cp:lastModifiedBy>
  <cp:revision>1</cp:revision>
  <dcterms:created xsi:type="dcterms:W3CDTF">2022-01-10T12:32:13Z</dcterms:created>
  <dcterms:modified xsi:type="dcterms:W3CDTF">2022-01-28T11:56:18Z</dcterms:modified>
</cp:coreProperties>
</file>